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5"/>
            <p14:sldId id="324"/>
            <p14:sldId id="326"/>
            <p14:sldId id="323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3"/>
            <p14:sldId id="350"/>
            <p14:sldId id="345"/>
            <p14:sldId id="342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1"/>
        <p:guide pos="3870"/>
        <p:guide pos="438"/>
        <p:guide orient="horz" pos="4125"/>
        <p:guide orient="horz" pos="1344"/>
        <p:guide pos="3774"/>
        <p:guide pos="7440"/>
        <p:guide pos="6600"/>
        <p:guide orient="horz" pos="578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6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5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3:$A$119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B$113:$B$119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4</c:v>
                </c:pt>
                <c:pt idx="3">
                  <c:v>1</c:v>
                </c:pt>
                <c:pt idx="4">
                  <c:v>4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3:$A$119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C$113:$C$11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13:$A$119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D$113:$D$11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13:$A$119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E$113:$E$119</c:f>
              <c:numCache>
                <c:formatCode>0%</c:formatCode>
                <c:ptCount val="7"/>
                <c:pt idx="0">
                  <c:v>0</c:v>
                </c:pt>
                <c:pt idx="1">
                  <c:v>-0.666666666666667</c:v>
                </c:pt>
                <c:pt idx="2">
                  <c:v>3</c:v>
                </c:pt>
                <c:pt idx="3">
                  <c:v>-0.75</c:v>
                </c:pt>
                <c:pt idx="4">
                  <c:v>3</c:v>
                </c:pt>
                <c:pt idx="5">
                  <c:v>-0.75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  <c:pt idx="52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bdee8e6c-fc67-4ed4-9f12-d1dc4832ec3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ac1f59c-f4ba-424a-b8ed-c6d8b6d98190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</c:formatCode>
                <c:ptCount val="53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  <c:pt idx="45">
                  <c:v>29.7173913043478</c:v>
                </c:pt>
                <c:pt idx="46">
                  <c:v>29.6808510638298</c:v>
                </c:pt>
                <c:pt idx="47">
                  <c:v>29.6666666666667</c:v>
                </c:pt>
                <c:pt idx="48">
                  <c:v>29.3877551020408</c:v>
                </c:pt>
                <c:pt idx="49">
                  <c:v>29.2</c:v>
                </c:pt>
                <c:pt idx="50">
                  <c:v>28.9803921568627</c:v>
                </c:pt>
                <c:pt idx="51">
                  <c:v>28.9038461538462</c:v>
                </c:pt>
                <c:pt idx="52">
                  <c:v>28.58490566037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8319248826291"/>
          <c:y val="0.187952898550725"/>
          <c:w val="0.801219344742289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  <c:pt idx="52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  <c:pt idx="45" c:formatCode="0">
                  <c:v>3.42857142857143</c:v>
                </c:pt>
                <c:pt idx="46" c:formatCode="0">
                  <c:v>4</c:v>
                </c:pt>
                <c:pt idx="47" c:formatCode="0">
                  <c:v>4.14285714285714</c:v>
                </c:pt>
                <c:pt idx="48" c:formatCode="0">
                  <c:v>2.28571428571429</c:v>
                </c:pt>
                <c:pt idx="49" c:formatCode="0">
                  <c:v>2.85714285714286</c:v>
                </c:pt>
                <c:pt idx="50" c:formatCode="0">
                  <c:v>2.57142857142857</c:v>
                </c:pt>
                <c:pt idx="51" c:formatCode="0">
                  <c:v>3.57142857142857</c:v>
                </c:pt>
                <c:pt idx="52" c:formatCode="0">
                  <c:v>1.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89</c:v>
                </c:pt>
                <c:pt idx="11">
                  <c:v>95</c:v>
                </c:pt>
                <c:pt idx="12">
                  <c:v>3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685670261941448</c:v>
                </c:pt>
                <c:pt idx="11" c:formatCode="0.00%">
                  <c:v>0.0684931506849315</c:v>
                </c:pt>
                <c:pt idx="12" c:formatCode="0.00%">
                  <c:v>0.022267206477732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0918367346938776</c:v>
                </c:pt>
                <c:pt idx="11" c:formatCode="0.00%">
                  <c:v>0.0674157303370786</c:v>
                </c:pt>
                <c:pt idx="12" c:formatCode="0.00%">
                  <c:v>-0.65263157894736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rgbClr val="848484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0%</c:formatCode>
                <c:ptCount val="53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30547550432277</c:v>
                </c:pt>
                <c:pt idx="47" c:formatCode="0.00%">
                  <c:v>0.0422535211267606</c:v>
                </c:pt>
                <c:pt idx="48" c:formatCode="0.00%">
                  <c:v>0.0027027027027027</c:v>
                </c:pt>
                <c:pt idx="49" c:formatCode="0.00%">
                  <c:v>0.00269541778975741</c:v>
                </c:pt>
                <c:pt idx="50" c:formatCode="0.00%">
                  <c:v>0.00537634408602151</c:v>
                </c:pt>
                <c:pt idx="51" c:formatCode="0.00%">
                  <c:v>0.018716577540107</c:v>
                </c:pt>
                <c:pt idx="5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0%</c:formatCode>
                <c:ptCount val="5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875</c:v>
                </c:pt>
                <c:pt idx="48" c:formatCode="0.00%">
                  <c:v>-0.933333333333333</c:v>
                </c:pt>
                <c:pt idx="49" c:formatCode="0.00%">
                  <c:v>0</c:v>
                </c:pt>
                <c:pt idx="50" c:formatCode="0.00%">
                  <c:v>1</c:v>
                </c:pt>
                <c:pt idx="51" c:formatCode="0.00%">
                  <c:v>2.5</c:v>
                </c:pt>
                <c:pt idx="52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2496395697016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3bdb4de-0b34-4ebf-8967-b878686e37fe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  <c:pt idx="45">
                  <c:v>7.54347826086957</c:v>
                </c:pt>
                <c:pt idx="46">
                  <c:v>7.5531914893617</c:v>
                </c:pt>
                <c:pt idx="47">
                  <c:v>7.70833333333333</c:v>
                </c:pt>
                <c:pt idx="48">
                  <c:v>7.57142857142857</c:v>
                </c:pt>
                <c:pt idx="49">
                  <c:v>7.44</c:v>
                </c:pt>
                <c:pt idx="50">
                  <c:v>7.33333333333333</c:v>
                </c:pt>
                <c:pt idx="51">
                  <c:v>7.32692307692308</c:v>
                </c:pt>
                <c:pt idx="52">
                  <c:v>7.188679245283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8</c:v>
                </c:pt>
                <c:pt idx="47">
                  <c:v>15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7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  <c:pt idx="45" c:formatCode="0">
                  <c:v>0</c:v>
                </c:pt>
                <c:pt idx="46" c:formatCode="0">
                  <c:v>1.14285714285714</c:v>
                </c:pt>
                <c:pt idx="47" c:formatCode="0">
                  <c:v>2.14285714285714</c:v>
                </c:pt>
                <c:pt idx="48" c:formatCode="0">
                  <c:v>0.142857142857143</c:v>
                </c:pt>
                <c:pt idx="49" c:formatCode="0">
                  <c:v>0.142857142857143</c:v>
                </c:pt>
                <c:pt idx="50" c:formatCode="0">
                  <c:v>0.285714285714286</c:v>
                </c:pt>
                <c:pt idx="51" c:formatCode="0">
                  <c:v>1</c:v>
                </c:pt>
                <c:pt idx="52" c:formatCode="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6</c:v>
                </c:pt>
                <c:pt idx="11">
                  <c:v>21</c:v>
                </c:pt>
                <c:pt idx="12">
                  <c:v>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.0172910662824208</c:v>
                </c:pt>
                <c:pt idx="11" c:formatCode="0.00%">
                  <c:v>0.0594900849858357</c:v>
                </c:pt>
                <c:pt idx="12" c:formatCode="0.00%">
                  <c:v>0.0187165775401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0.2</c:v>
                </c:pt>
                <c:pt idx="11" c:formatCode="0.00%">
                  <c:v>2.5</c:v>
                </c:pt>
                <c:pt idx="12" c:formatCode="0.00%">
                  <c:v>-0.6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5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4:$A$120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B$114:$B$120</c:f>
              <c:numCache>
                <c:formatCode>General</c:formatCode>
                <c:ptCount val="7"/>
                <c:pt idx="0">
                  <c:v>3.2</c:v>
                </c:pt>
                <c:pt idx="1">
                  <c:v>0.9</c:v>
                </c:pt>
                <c:pt idx="2">
                  <c:v>0.7</c:v>
                </c:pt>
                <c:pt idx="3">
                  <c:v>1.2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4:$A$120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C$114:$C$120</c:f>
              <c:numCache>
                <c:formatCode>0%</c:formatCode>
                <c:ptCount val="7"/>
                <c:pt idx="0">
                  <c:v>0.68421052631579</c:v>
                </c:pt>
                <c:pt idx="1">
                  <c:v>-0.71875</c:v>
                </c:pt>
                <c:pt idx="2">
                  <c:v>-0.222222222222222</c:v>
                </c:pt>
                <c:pt idx="3">
                  <c:v>0.714285714285714</c:v>
                </c:pt>
                <c:pt idx="4">
                  <c:v>0.666666666666667</c:v>
                </c:pt>
                <c:pt idx="5">
                  <c:v>-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7:$B$113</c:f>
              <c:numCache>
                <c:formatCode>General</c:formatCode>
                <c:ptCount val="7"/>
                <c:pt idx="0">
                  <c:v>0.7</c:v>
                </c:pt>
                <c:pt idx="1">
                  <c:v>2.5</c:v>
                </c:pt>
                <c:pt idx="2">
                  <c:v>1.8</c:v>
                </c:pt>
                <c:pt idx="3">
                  <c:v>1.9</c:v>
                </c:pt>
                <c:pt idx="4">
                  <c:v>5.5</c:v>
                </c:pt>
                <c:pt idx="5">
                  <c:v>297.2</c:v>
                </c:pt>
                <c:pt idx="6">
                  <c:v>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7:$C$113</c:f>
              <c:numCache>
                <c:formatCode>0%</c:formatCode>
                <c:ptCount val="7"/>
                <c:pt idx="0">
                  <c:v>0.166666666666667</c:v>
                </c:pt>
                <c:pt idx="1">
                  <c:v>2.57142857142857</c:v>
                </c:pt>
                <c:pt idx="2">
                  <c:v>-0.28</c:v>
                </c:pt>
                <c:pt idx="3">
                  <c:v>0.0555555555555555</c:v>
                </c:pt>
                <c:pt idx="4">
                  <c:v>1.89473684210526</c:v>
                </c:pt>
                <c:pt idx="5">
                  <c:v>53.0363636363636</c:v>
                </c:pt>
                <c:pt idx="6">
                  <c:v>-0.9936069986541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1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6:$B$112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0</c:v>
                </c:pt>
                <c:pt idx="4">
                  <c:v>0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6:$C$112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D$106:$D$11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06:$A$112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E$106:$E$112</c:f>
              <c:numCache>
                <c:formatCode>0%</c:formatCode>
                <c:ptCount val="7"/>
                <c:pt idx="0">
                  <c:v>0.333333333333333</c:v>
                </c:pt>
                <c:pt idx="1">
                  <c:v>-0.25</c:v>
                </c:pt>
                <c:pt idx="2">
                  <c:v>0</c:v>
                </c:pt>
                <c:pt idx="3">
                  <c:v>-1</c:v>
                </c:pt>
                <c:pt idx="4">
                  <c:v>0</c:v>
                </c:pt>
                <c:pt idx="5">
                  <c:v>0</c:v>
                </c:pt>
                <c:pt idx="6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  <c:pt idx="52">
                  <c:v>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0%</c:formatCode>
                <c:ptCount val="53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  <c:pt idx="45" c:formatCode="0.00%">
                  <c:v>0.00913081650570676</c:v>
                </c:pt>
                <c:pt idx="46" c:formatCode="0.00%">
                  <c:v>0.139203062467374</c:v>
                </c:pt>
                <c:pt idx="47" c:formatCode="0.00%">
                  <c:v>0.0336031770276463</c:v>
                </c:pt>
                <c:pt idx="48" c:formatCode="0.00%">
                  <c:v>0.0289640904388946</c:v>
                </c:pt>
                <c:pt idx="49" c:formatCode="0.00%">
                  <c:v>0.0145052419933937</c:v>
                </c:pt>
                <c:pt idx="50" c:formatCode="0.00%">
                  <c:v>0.0281710079275198</c:v>
                </c:pt>
                <c:pt idx="51" c:formatCode="0.00%">
                  <c:v>0.428886135205838</c:v>
                </c:pt>
                <c:pt idx="52" c:formatCode="0.00%">
                  <c:v>0.0086721911736365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0%</c:formatCode>
                <c:ptCount val="5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  <c:pt idx="45" c:formatCode="0.00%">
                  <c:v>0.625</c:v>
                </c:pt>
                <c:pt idx="46" c:formatCode="0.00%">
                  <c:v>14.3846153846154</c:v>
                </c:pt>
                <c:pt idx="47" c:formatCode="0.00%">
                  <c:v>-0.725</c:v>
                </c:pt>
                <c:pt idx="48" c:formatCode="0.00%">
                  <c:v>-0.109090909090909</c:v>
                </c:pt>
                <c:pt idx="49" c:formatCode="0.00%">
                  <c:v>-0.48469387755102</c:v>
                </c:pt>
                <c:pt idx="50" c:formatCode="0.00%">
                  <c:v>0.97029702970297</c:v>
                </c:pt>
                <c:pt idx="51" c:formatCode="0.00%">
                  <c:v>14.6532663316583</c:v>
                </c:pt>
                <c:pt idx="52" c:formatCode="0.00%">
                  <c:v>-0.97110754414125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  <c:pt idx="5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.00</c:formatCode>
                <c:ptCount val="53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  <c:pt idx="45">
                  <c:v>12.4934782608696</c:v>
                </c:pt>
                <c:pt idx="46">
                  <c:v>13.9297872340426</c:v>
                </c:pt>
                <c:pt idx="47">
                  <c:v>14.0979166666667</c:v>
                </c:pt>
                <c:pt idx="48">
                  <c:v>14.2102040816327</c:v>
                </c:pt>
                <c:pt idx="49">
                  <c:v>14.128</c:v>
                </c:pt>
                <c:pt idx="50">
                  <c:v>14.2411764705882</c:v>
                </c:pt>
                <c:pt idx="51">
                  <c:v>19.9576923076923</c:v>
                </c:pt>
                <c:pt idx="52">
                  <c:v>19.75094339622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  <c:pt idx="45">
                  <c:v>5.2</c:v>
                </c:pt>
                <c:pt idx="46">
                  <c:v>80</c:v>
                </c:pt>
                <c:pt idx="47">
                  <c:v>22</c:v>
                </c:pt>
                <c:pt idx="48">
                  <c:v>19.6</c:v>
                </c:pt>
                <c:pt idx="49">
                  <c:v>10.1</c:v>
                </c:pt>
                <c:pt idx="50">
                  <c:v>19.9</c:v>
                </c:pt>
                <c:pt idx="51">
                  <c:v>311.5</c:v>
                </c:pt>
                <c:pt idx="5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.00</c:formatCode>
                <c:ptCount val="53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  <c:pt idx="45">
                  <c:v>0.742857142857143</c:v>
                </c:pt>
                <c:pt idx="46">
                  <c:v>11.4285714285714</c:v>
                </c:pt>
                <c:pt idx="47">
                  <c:v>3.14285714285714</c:v>
                </c:pt>
                <c:pt idx="48">
                  <c:v>2.8</c:v>
                </c:pt>
                <c:pt idx="49">
                  <c:v>1.44285714285714</c:v>
                </c:pt>
                <c:pt idx="50">
                  <c:v>2.84285714285714</c:v>
                </c:pt>
                <c:pt idx="51">
                  <c:v>44.5</c:v>
                </c:pt>
                <c:pt idx="52">
                  <c:v>1.285714285714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96.9</c:v>
                </c:pt>
                <c:pt idx="11">
                  <c:v>77.1</c:v>
                </c:pt>
                <c:pt idx="12">
                  <c:v>317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174437443744374</c:v>
                </c:pt>
                <c:pt idx="11" c:formatCode="0.00%">
                  <c:v>0.11817903126916</c:v>
                </c:pt>
                <c:pt idx="12" c:formatCode="0.00%">
                  <c:v>0.43495544893762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1.68421052631579</c:v>
                </c:pt>
                <c:pt idx="11" c:formatCode="0.00%">
                  <c:v>-0.204334365325078</c:v>
                </c:pt>
                <c:pt idx="12" c:formatCode="0.00%">
                  <c:v>3.1154345006485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14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0507246376811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B$100:$B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C$100:$C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D$100:$D$10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0:$A$106</c:f>
              <c:numCache>
                <c:formatCode>yyyy/m/d</c:formatCode>
                <c:ptCount val="7"/>
                <c:pt idx="0" c:formatCode="yyyy/m/d">
                  <c:v>43920</c:v>
                </c:pt>
                <c:pt idx="1" c:formatCode="yyyy/m/d">
                  <c:v>43921</c:v>
                </c:pt>
                <c:pt idx="2" c:formatCode="yyyy/m/d">
                  <c:v>43922</c:v>
                </c:pt>
                <c:pt idx="3" c:formatCode="yyyy/m/d">
                  <c:v>43923</c:v>
                </c:pt>
                <c:pt idx="4" c:formatCode="yyyy/m/d">
                  <c:v>43924</c:v>
                </c:pt>
                <c:pt idx="5" c:formatCode="yyyy/m/d">
                  <c:v>43925</c:v>
                </c:pt>
                <c:pt idx="6" c:formatCode="yyyy/m/d">
                  <c:v>43926</c:v>
                </c:pt>
              </c:numCache>
            </c:numRef>
          </c:cat>
          <c:val>
            <c:numRef>
              <c:f>Sheet1!$E$100:$E$106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.0166666666666667</c:v>
                </c:pt>
                <c:pt idx="3">
                  <c:v>-0.0163934426229508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  <c:pt idx="51">
                  <c:v>1</c:v>
                </c:pt>
                <c:pt idx="52">
                  <c:v>0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E$2:$E$54</c:f>
              <c:numCache>
                <c:formatCode>0.00%</c:formatCode>
                <c:ptCount val="53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  <c:pt idx="45">
                  <c:v>0.0018450184501845</c:v>
                </c:pt>
                <c:pt idx="46">
                  <c:v>0.0202578268876611</c:v>
                </c:pt>
                <c:pt idx="47">
                  <c:v>0.0108303249097473</c:v>
                </c:pt>
                <c:pt idx="48">
                  <c:v>0.0125</c:v>
                </c:pt>
                <c:pt idx="49">
                  <c:v>0.0017636684303351</c:v>
                </c:pt>
                <c:pt idx="50">
                  <c:v>0.0158450704225352</c:v>
                </c:pt>
                <c:pt idx="51">
                  <c:v>0.00173310225303293</c:v>
                </c:pt>
                <c:pt idx="52">
                  <c:v>0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F$2:$F$54</c:f>
              <c:numCache>
                <c:formatCode>0.00%</c:formatCode>
                <c:ptCount val="53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  <c:pt idx="45">
                  <c:v>-0.857142857142857</c:v>
                </c:pt>
                <c:pt idx="46">
                  <c:v>10</c:v>
                </c:pt>
                <c:pt idx="47">
                  <c:v>-0.454545454545455</c:v>
                </c:pt>
                <c:pt idx="48">
                  <c:v>0.166666666666667</c:v>
                </c:pt>
                <c:pt idx="49">
                  <c:v>-0.857142857142857</c:v>
                </c:pt>
                <c:pt idx="50">
                  <c:v>8</c:v>
                </c:pt>
                <c:pt idx="51">
                  <c:v>-0.888888888888889</c:v>
                </c:pt>
                <c:pt idx="52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  <c:pt idx="45">
                  <c:v>1</c:v>
                </c:pt>
                <c:pt idx="46">
                  <c:v>11</c:v>
                </c:pt>
                <c:pt idx="47">
                  <c:v>3</c:v>
                </c:pt>
                <c:pt idx="48">
                  <c:v>6</c:v>
                </c:pt>
                <c:pt idx="49">
                  <c:v>1</c:v>
                </c:pt>
                <c:pt idx="50">
                  <c:v>6</c:v>
                </c:pt>
                <c:pt idx="51">
                  <c:v>1</c:v>
                </c:pt>
                <c:pt idx="5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  <c:pt idx="45">
                  <c:v>0</c:v>
                </c:pt>
                <c:pt idx="46">
                  <c:v>0</c:v>
                </c:pt>
                <c:pt idx="47">
                  <c:v>2</c:v>
                </c:pt>
                <c:pt idx="48">
                  <c:v>1</c:v>
                </c:pt>
                <c:pt idx="49">
                  <c:v>0</c:v>
                </c:pt>
                <c:pt idx="50">
                  <c:v>3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E$2:$E$54</c:f>
              <c:numCache>
                <c:formatCode>0</c:formatCode>
                <c:ptCount val="53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  <c:pt idx="45">
                  <c:v>11.804347826087</c:v>
                </c:pt>
                <c:pt idx="46">
                  <c:v>11.7872340425532</c:v>
                </c:pt>
                <c:pt idx="47">
                  <c:v>11.6666666666667</c:v>
                </c:pt>
                <c:pt idx="48">
                  <c:v>11.5714285714286</c:v>
                </c:pt>
                <c:pt idx="49">
                  <c:v>11.36</c:v>
                </c:pt>
                <c:pt idx="50">
                  <c:v>11.3137254901961</c:v>
                </c:pt>
                <c:pt idx="51">
                  <c:v>11.1153846153846</c:v>
                </c:pt>
                <c:pt idx="52">
                  <c:v>10.90566037735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E$2:$E$54</c:f>
              <c:numCache>
                <c:formatCode>0.0</c:formatCode>
                <c:ptCount val="53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428571428571429</c:v>
                </c:pt>
                <c:pt idx="48">
                  <c:v>0.857142857142857</c:v>
                </c:pt>
                <c:pt idx="49">
                  <c:v>0.142857142857143</c:v>
                </c:pt>
                <c:pt idx="50">
                  <c:v>0.857142857142857</c:v>
                </c:pt>
                <c:pt idx="51">
                  <c:v>0.142857142857143</c:v>
                </c:pt>
                <c:pt idx="5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F$2:$F$54</c:f>
              <c:numCache>
                <c:formatCode>0.0</c:formatCode>
                <c:ptCount val="53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  <c:pt idx="45">
                  <c:v>0</c:v>
                </c:pt>
                <c:pt idx="46">
                  <c:v>0</c:v>
                </c:pt>
                <c:pt idx="47">
                  <c:v>0.14285714285714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G$2:$G$54</c:f>
              <c:numCache>
                <c:formatCode>0.0</c:formatCode>
                <c:ptCount val="53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  <c:pt idx="45">
                  <c:v>0</c:v>
                </c:pt>
                <c:pt idx="46">
                  <c:v>0</c:v>
                </c:pt>
                <c:pt idx="47">
                  <c:v>0.285714285714286</c:v>
                </c:pt>
                <c:pt idx="48">
                  <c:v>0.142857142857143</c:v>
                </c:pt>
                <c:pt idx="49">
                  <c:v>0</c:v>
                </c:pt>
                <c:pt idx="50">
                  <c:v>0.428571428571429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H$2:$H$54</c:f>
              <c:numCache>
                <c:formatCode>0</c:formatCode>
                <c:ptCount val="53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  <c:pt idx="45">
                  <c:v>0.142857142857143</c:v>
                </c:pt>
                <c:pt idx="46">
                  <c:v>1.57142857142857</c:v>
                </c:pt>
                <c:pt idx="47">
                  <c:v>0.857142857142857</c:v>
                </c:pt>
                <c:pt idx="48">
                  <c:v>1</c:v>
                </c:pt>
                <c:pt idx="49">
                  <c:v>0.142857142857143</c:v>
                </c:pt>
                <c:pt idx="50">
                  <c:v>1.28571428571429</c:v>
                </c:pt>
                <c:pt idx="51">
                  <c:v>0.142857142857143</c:v>
                </c:pt>
                <c:pt idx="52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987272727272727"/>
          <c:y val="0.181235100561432"/>
          <c:w val="0.824683501683502"/>
          <c:h val="0.414072737307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12</c:v>
                </c:pt>
                <c:pt idx="11">
                  <c:v>21</c:v>
                </c:pt>
                <c:pt idx="12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63c57b6-0eb3-4d8a-a740-d0ee00944181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206d3a8-8b5d-4473-bf7e-6dc1acbfada5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ac7dc44-b9c7-4ee6-9962-b8843667888c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c8246f2c-334c-4d06-933b-e7299d470bee}" type="VALUE">
                      <a:t>[VALUE]</a:t>
                    </a:fld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  <c:pt idx="11">
                  <c:v>6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299065420560748</c:v>
                </c:pt>
                <c:pt idx="11" c:formatCode="0%">
                  <c:v>0.0508166969147005</c:v>
                </c:pt>
                <c:pt idx="12" c:formatCode="0%">
                  <c:v>0.0017271157167530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0.0666666666666667</c:v>
                </c:pt>
                <c:pt idx="11" c:formatCode="0%">
                  <c:v>0.75</c:v>
                </c:pt>
                <c:pt idx="12" c:formatCode="0%">
                  <c:v>-0.96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51</c:v>
                </c:pt>
                <c:pt idx="1">
                  <c:v>101</c:v>
                </c:pt>
                <c:pt idx="2">
                  <c:v>1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11</c:v>
                </c:pt>
                <c:pt idx="50">
                  <c:v>14</c:v>
                </c:pt>
                <c:pt idx="51">
                  <c:v>18</c:v>
                </c:pt>
                <c:pt idx="52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E$2:$E$54</c:f>
              <c:numCache>
                <c:formatCode>0.00%</c:formatCode>
                <c:ptCount val="53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  <c:pt idx="45">
                  <c:v>0.0825242718446602</c:v>
                </c:pt>
                <c:pt idx="46">
                  <c:v>0.0569948186528497</c:v>
                </c:pt>
                <c:pt idx="47">
                  <c:v>0.102702702702703</c:v>
                </c:pt>
                <c:pt idx="48">
                  <c:v>0.110526315789474</c:v>
                </c:pt>
                <c:pt idx="49">
                  <c:v>0.0653266331658292</c:v>
                </c:pt>
                <c:pt idx="50">
                  <c:v>0.0962566844919786</c:v>
                </c:pt>
                <c:pt idx="51">
                  <c:v>0.0984455958549223</c:v>
                </c:pt>
                <c:pt idx="52">
                  <c:v>0.073891625615763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F$2:$F$54</c:f>
              <c:numCache>
                <c:formatCode>0.00%</c:formatCode>
                <c:ptCount val="53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  <c:pt idx="45">
                  <c:v>1.42857142857143</c:v>
                </c:pt>
                <c:pt idx="46">
                  <c:v>-0.352941176470588</c:v>
                </c:pt>
                <c:pt idx="47">
                  <c:v>0.727272727272727</c:v>
                </c:pt>
                <c:pt idx="48">
                  <c:v>0.105263157894737</c:v>
                </c:pt>
                <c:pt idx="49">
                  <c:v>-0.380952380952381</c:v>
                </c:pt>
                <c:pt idx="50">
                  <c:v>0.384615384615385</c:v>
                </c:pt>
                <c:pt idx="51">
                  <c:v>0.0555555555555556</c:v>
                </c:pt>
                <c:pt idx="52">
                  <c:v>-0.21052631578947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E$2:$E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F$2:$F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G$2:$G$54</c:f>
              <c:numCache>
                <c:formatCode>0%</c:formatCode>
                <c:ptCount val="53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  <c:pt idx="52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H$2:$H$54</c:f>
              <c:numCache>
                <c:formatCode>0%</c:formatCode>
                <c:ptCount val="5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  <c:pt idx="52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E$2:$E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F$2:$F$54</c:f>
              <c:numCache>
                <c:formatCode>General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G$2:$G$54</c:f>
              <c:numCache>
                <c:formatCode>0</c:formatCode>
                <c:ptCount val="53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  <c:pt idx="45">
                  <c:v>0.630434782608696</c:v>
                </c:pt>
                <c:pt idx="46">
                  <c:v>0.617021276595745</c:v>
                </c:pt>
                <c:pt idx="47">
                  <c:v>0.604166666666667</c:v>
                </c:pt>
                <c:pt idx="48">
                  <c:v>0.591836734693878</c:v>
                </c:pt>
                <c:pt idx="49">
                  <c:v>0.58</c:v>
                </c:pt>
                <c:pt idx="50">
                  <c:v>0.568627450980392</c:v>
                </c:pt>
                <c:pt idx="51">
                  <c:v>0.557692307692308</c:v>
                </c:pt>
                <c:pt idx="52">
                  <c:v>0.5471698113207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G$2:$G$54</c:f>
              <c:numCache>
                <c:formatCode>0.00</c:formatCode>
                <c:ptCount val="53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H$2:$H$54</c:f>
              <c:numCache>
                <c:formatCode>0.00</c:formatCode>
                <c:ptCount val="53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I$2:$I$54</c:f>
              <c:numCache>
                <c:formatCode>0.00</c:formatCode>
                <c:ptCount val="53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J$2:$J$54</c:f>
              <c:numCache>
                <c:formatCode>0.00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K$2:$K$54</c:f>
              <c:numCache>
                <c:formatCode>0.00</c:formatCode>
                <c:ptCount val="5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L$2:$L$54</c:f>
              <c:numCache>
                <c:formatCode>0.00</c:formatCode>
                <c:ptCount val="53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G$2:$G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  <c:pt idx="12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H$2:$H$14</c:f>
              <c:numCache>
                <c:formatCode>General</c:formatCode>
                <c:ptCount val="13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  <c:pt idx="11" c:formatCode="0%">
                  <c:v>0</c:v>
                </c:pt>
                <c:pt idx="12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0%</c:formatCode>
                <c:ptCount val="53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.0289855072463768</c:v>
                </c:pt>
                <c:pt idx="47" c:formatCode="0.00%">
                  <c:v>0.0422535211267606</c:v>
                </c:pt>
                <c:pt idx="48" c:formatCode="0.00%">
                  <c:v>0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  <c:pt idx="5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0%</c:formatCode>
                <c:ptCount val="5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  <c:pt idx="45" c:formatCode="0.00%">
                  <c:v>0</c:v>
                </c:pt>
                <c:pt idx="46" c:formatCode="0.00%">
                  <c:v>0</c:v>
                </c:pt>
                <c:pt idx="47" c:formatCode="0.00%">
                  <c:v>0.5</c:v>
                </c:pt>
                <c:pt idx="48" c:formatCode="0.00%">
                  <c:v>-1</c:v>
                </c:pt>
                <c:pt idx="49" c:formatCode="0.00%">
                  <c:v>0</c:v>
                </c:pt>
                <c:pt idx="50" c:formatCode="0.00%">
                  <c:v>0</c:v>
                </c:pt>
                <c:pt idx="51" c:formatCode="0.00%">
                  <c:v>0</c:v>
                </c:pt>
                <c:pt idx="52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</c:formatCode>
                <c:ptCount val="53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  <c:pt idx="45">
                  <c:v>1.5</c:v>
                </c:pt>
                <c:pt idx="46">
                  <c:v>1.51063829787234</c:v>
                </c:pt>
                <c:pt idx="47">
                  <c:v>1.54166666666667</c:v>
                </c:pt>
                <c:pt idx="48">
                  <c:v>1.51020408163265</c:v>
                </c:pt>
                <c:pt idx="49">
                  <c:v>1.48</c:v>
                </c:pt>
                <c:pt idx="50">
                  <c:v>1.45098039215686</c:v>
                </c:pt>
                <c:pt idx="51">
                  <c:v>1.42307692307692</c:v>
                </c:pt>
                <c:pt idx="52">
                  <c:v>1.3962264150943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2</c:v>
                </c:pt>
                <c:pt idx="47">
                  <c:v>3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0.00</c:formatCode>
                <c:ptCount val="53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.285714285714286</c:v>
                </c:pt>
                <c:pt idx="47">
                  <c:v>0.428571428571429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.0144927536231884</c:v>
                </c:pt>
                <c:pt idx="11" c:formatCode="0.00%">
                  <c:v>0.0571428571428571</c:v>
                </c:pt>
                <c:pt idx="1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0</c:v>
                </c:pt>
                <c:pt idx="11" c:formatCode="0.00%">
                  <c:v>3</c:v>
                </c:pt>
                <c:pt idx="12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637055931389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  <c:pt idx="45">
                  <c:v>17</c:v>
                </c:pt>
                <c:pt idx="46">
                  <c:v>9</c:v>
                </c:pt>
                <c:pt idx="47">
                  <c:v>15</c:v>
                </c:pt>
                <c:pt idx="48">
                  <c:v>20</c:v>
                </c:pt>
                <c:pt idx="49">
                  <c:v>9</c:v>
                </c:pt>
                <c:pt idx="50">
                  <c:v>14</c:v>
                </c:pt>
                <c:pt idx="51">
                  <c:v>18</c:v>
                </c:pt>
                <c:pt idx="52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0</c:v>
                </c:pt>
                <c:pt idx="46">
                  <c:v>2</c:v>
                </c:pt>
                <c:pt idx="47">
                  <c:v>4</c:v>
                </c:pt>
                <c:pt idx="48">
                  <c:v>1</c:v>
                </c:pt>
                <c:pt idx="49">
                  <c:v>2</c:v>
                </c:pt>
                <c:pt idx="50">
                  <c:v>4</c:v>
                </c:pt>
                <c:pt idx="51">
                  <c:v>1</c:v>
                </c:pt>
                <c:pt idx="52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E$2:$E$54</c:f>
              <c:numCache>
                <c:formatCode>0</c:formatCode>
                <c:ptCount val="53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  <c:pt idx="45">
                  <c:v>25.8478260869565</c:v>
                </c:pt>
                <c:pt idx="46">
                  <c:v>25.531914893617</c:v>
                </c:pt>
                <c:pt idx="47">
                  <c:v>25.3958333333333</c:v>
                </c:pt>
                <c:pt idx="48">
                  <c:v>25.3061224489796</c:v>
                </c:pt>
                <c:pt idx="49">
                  <c:v>25.02</c:v>
                </c:pt>
                <c:pt idx="50">
                  <c:v>24.8823529411765</c:v>
                </c:pt>
                <c:pt idx="51">
                  <c:v>24.7692307692308</c:v>
                </c:pt>
                <c:pt idx="52">
                  <c:v>24.58490566037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177207337489"/>
          <c:y val="0.152993098031772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E$2:$E$54</c:f>
              <c:numCache>
                <c:formatCode>0</c:formatCode>
                <c:ptCount val="53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  <c:pt idx="45">
                  <c:v>2.42857142857143</c:v>
                </c:pt>
                <c:pt idx="46">
                  <c:v>1.28571428571429</c:v>
                </c:pt>
                <c:pt idx="47">
                  <c:v>2.14285714285714</c:v>
                </c:pt>
                <c:pt idx="48">
                  <c:v>2.85714285714286</c:v>
                </c:pt>
                <c:pt idx="49">
                  <c:v>1.28571428571429</c:v>
                </c:pt>
                <c:pt idx="50">
                  <c:v>2</c:v>
                </c:pt>
                <c:pt idx="51">
                  <c:v>2.57142857142857</c:v>
                </c:pt>
                <c:pt idx="52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F$2:$F$54</c:f>
              <c:numCache>
                <c:formatCode>General</c:formatCode>
                <c:ptCount val="53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  <c:pt idx="45" c:formatCode="0">
                  <c:v>0</c:v>
                </c:pt>
                <c:pt idx="46" c:formatCode="0">
                  <c:v>0.285714285714286</c:v>
                </c:pt>
                <c:pt idx="47" c:formatCode="0">
                  <c:v>0.571428571428571</c:v>
                </c:pt>
                <c:pt idx="48" c:formatCode="0">
                  <c:v>0.142857142857143</c:v>
                </c:pt>
                <c:pt idx="49" c:formatCode="0">
                  <c:v>0.285714285714286</c:v>
                </c:pt>
                <c:pt idx="50" c:formatCode="0">
                  <c:v>0.571428571428571</c:v>
                </c:pt>
                <c:pt idx="51" c:formatCode="0">
                  <c:v>0.142857142857143</c:v>
                </c:pt>
                <c:pt idx="52" c:formatCode="0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G$2:$G$54</c:f>
              <c:numCache>
                <c:formatCode>0</c:formatCode>
                <c:ptCount val="53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  <c:pt idx="45">
                  <c:v>CW08</c:v>
                </c:pt>
                <c:pt idx="46">
                  <c:v>CW09</c:v>
                </c:pt>
                <c:pt idx="47">
                  <c:v>CW10</c:v>
                </c:pt>
                <c:pt idx="48">
                  <c:v>CW11</c:v>
                </c:pt>
                <c:pt idx="49">
                  <c:v>CW12</c:v>
                </c:pt>
                <c:pt idx="50">
                  <c:v>CW13</c:v>
                </c:pt>
                <c:pt idx="51">
                  <c:v>CW14</c:v>
                </c:pt>
                <c:pt idx="52">
                  <c:v>CW15</c:v>
                </c:pt>
              </c:strCache>
            </c:strRef>
          </c:cat>
          <c:val>
            <c:numRef>
              <c:f>Sheet1!$H$2:$H$54</c:f>
              <c:numCache>
                <c:formatCode>0</c:formatCode>
                <c:ptCount val="53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  <c:pt idx="45">
                  <c:v>2.42857142857143</c:v>
                </c:pt>
                <c:pt idx="46">
                  <c:v>1.57142857142857</c:v>
                </c:pt>
                <c:pt idx="47">
                  <c:v>2.71428571428571</c:v>
                </c:pt>
                <c:pt idx="48">
                  <c:v>3</c:v>
                </c:pt>
                <c:pt idx="49">
                  <c:v>1.57142857142857</c:v>
                </c:pt>
                <c:pt idx="50">
                  <c:v>2.57142857142857</c:v>
                </c:pt>
                <c:pt idx="51">
                  <c:v>2.71428571428571</c:v>
                </c:pt>
                <c:pt idx="52">
                  <c:v>2.142857142857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40</c:v>
                </c:pt>
                <c:pt idx="11">
                  <c:v>71</c:v>
                </c:pt>
                <c:pt idx="12">
                  <c:v>2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4</c:v>
                </c:pt>
                <c:pt idx="11">
                  <c:v>14</c:v>
                </c:pt>
                <c:pt idx="12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D$2:$D$14</c:f>
              <c:numCache>
                <c:formatCode>General</c:formatCode>
                <c:ptCount val="13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E$2:$E$14</c:f>
              <c:numCache>
                <c:formatCode>0%</c:formatCode>
                <c:ptCount val="13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504672897196262</c:v>
                </c:pt>
                <c:pt idx="11">
                  <c:v>1.57407407407407</c:v>
                </c:pt>
                <c:pt idx="12">
                  <c:v>0.31764705882352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  <c:pt idx="12">
                  <c:v>Apr</c:v>
                </c:pt>
              </c:strCache>
            </c:strRef>
          </c:cat>
          <c:val>
            <c:numRef>
              <c:f>Sheet1!$F$2:$F$14</c:f>
              <c:numCache>
                <c:formatCode>0%</c:formatCode>
                <c:ptCount val="13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495327102803738</c:v>
                </c:pt>
                <c:pt idx="11">
                  <c:v>0.574074074074074</c:v>
                </c:pt>
                <c:pt idx="12">
                  <c:v>-0.68235294117647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5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4:$A$120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B$114:$B$120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2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14:$A$120</c:f>
              <c:numCache>
                <c:formatCode>m/d;@</c:formatCode>
                <c:ptCount val="7"/>
                <c:pt idx="0" c:formatCode="m/d;@">
                  <c:v>43927</c:v>
                </c:pt>
                <c:pt idx="1" c:formatCode="m/d;@">
                  <c:v>43928</c:v>
                </c:pt>
                <c:pt idx="2" c:formatCode="m/d;@">
                  <c:v>43929</c:v>
                </c:pt>
                <c:pt idx="3" c:formatCode="m/d;@">
                  <c:v>43930</c:v>
                </c:pt>
                <c:pt idx="4" c:formatCode="m/d;@">
                  <c:v>43931</c:v>
                </c:pt>
                <c:pt idx="5" c:formatCode="m/d;@">
                  <c:v>43932</c:v>
                </c:pt>
                <c:pt idx="6" c:formatCode="m/d;@">
                  <c:v>43933</c:v>
                </c:pt>
              </c:numCache>
            </c:numRef>
          </c:cat>
          <c:val>
            <c:numRef>
              <c:f>Sheet1!$C$114:$C$120</c:f>
              <c:numCache>
                <c:formatCode>0%</c:formatCode>
                <c:ptCount val="7"/>
                <c:pt idx="0">
                  <c:v>-0.6</c:v>
                </c:pt>
                <c:pt idx="1">
                  <c:v>0</c:v>
                </c:pt>
                <c:pt idx="2">
                  <c:v>-0.5</c:v>
                </c:pt>
                <c:pt idx="3">
                  <c:v>0</c:v>
                </c:pt>
                <c:pt idx="4">
                  <c:v>3</c:v>
                </c:pt>
                <c:pt idx="5">
                  <c:v>-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14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B$107:$B$113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5</c:v>
                </c:pt>
                <c:pt idx="3">
                  <c:v>6</c:v>
                </c:pt>
                <c:pt idx="4">
                  <c:v>1</c:v>
                </c:pt>
                <c:pt idx="5">
                  <c:v>4</c:v>
                </c:pt>
                <c:pt idx="6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07:$A$113</c:f>
              <c:numCache>
                <c:formatCode>m/d;@</c:formatCode>
                <c:ptCount val="7"/>
                <c:pt idx="0" c:formatCode="m/d;@">
                  <c:v>43920</c:v>
                </c:pt>
                <c:pt idx="1" c:formatCode="m/d;@">
                  <c:v>43921</c:v>
                </c:pt>
                <c:pt idx="2" c:formatCode="m/d;@">
                  <c:v>43922</c:v>
                </c:pt>
                <c:pt idx="3" c:formatCode="m/d;@">
                  <c:v>43923</c:v>
                </c:pt>
                <c:pt idx="4" c:formatCode="m/d;@">
                  <c:v>43924</c:v>
                </c:pt>
                <c:pt idx="5" c:formatCode="m/d;@">
                  <c:v>43925</c:v>
                </c:pt>
                <c:pt idx="6" c:formatCode="m/d;@">
                  <c:v>43926</c:v>
                </c:pt>
              </c:numCache>
            </c:numRef>
          </c:cat>
          <c:val>
            <c:numRef>
              <c:f>Sheet1!$C$107:$C$113</c:f>
              <c:numCache>
                <c:formatCode>0%</c:formatCode>
                <c:ptCount val="7"/>
                <c:pt idx="0">
                  <c:v>0.5</c:v>
                </c:pt>
                <c:pt idx="1">
                  <c:v>-0.666666666666667</c:v>
                </c:pt>
                <c:pt idx="2">
                  <c:v>4</c:v>
                </c:pt>
                <c:pt idx="3">
                  <c:v>0.2</c:v>
                </c:pt>
                <c:pt idx="4">
                  <c:v>-0.833333333333333</c:v>
                </c:pt>
                <c:pt idx="5">
                  <c:v>3</c:v>
                </c:pt>
                <c:pt idx="6">
                  <c:v>0.2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en-US" altLang="zh-CN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 w="12700" cmpd="sng">
      <a:solidFill>
        <a:schemeClr val="tx1"/>
      </a:solidFill>
      <a:prstDash val="solid"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289988899343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  <c:pt idx="45">
                  <c:v>24</c:v>
                </c:pt>
                <c:pt idx="46">
                  <c:v>28</c:v>
                </c:pt>
                <c:pt idx="47">
                  <c:v>29</c:v>
                </c:pt>
                <c:pt idx="48">
                  <c:v>16</c:v>
                </c:pt>
                <c:pt idx="49">
                  <c:v>20</c:v>
                </c:pt>
                <c:pt idx="50">
                  <c:v>18</c:v>
                </c:pt>
                <c:pt idx="51">
                  <c:v>25</c:v>
                </c:pt>
                <c:pt idx="52">
                  <c:v>1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C$2:$C$54</c:f>
              <c:numCache>
                <c:formatCode>0%</c:formatCode>
                <c:ptCount val="53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  <c:pt idx="45" c:formatCode="0.00%">
                  <c:v>0.0178704393149665</c:v>
                </c:pt>
                <c:pt idx="46" c:formatCode="0.00%">
                  <c:v>0.0204828090709583</c:v>
                </c:pt>
                <c:pt idx="47" c:formatCode="0.00%">
                  <c:v>0.0207885304659498</c:v>
                </c:pt>
                <c:pt idx="48" c:formatCode="0.00%">
                  <c:v>0.0112359550561798</c:v>
                </c:pt>
                <c:pt idx="49" c:formatCode="0.00%">
                  <c:v>0.0138888888888889</c:v>
                </c:pt>
                <c:pt idx="50" c:formatCode="0.00%">
                  <c:v>0.0123287671232877</c:v>
                </c:pt>
                <c:pt idx="51" c:formatCode="0.00%">
                  <c:v>0.016914749661705</c:v>
                </c:pt>
                <c:pt idx="52" c:formatCode="0.00%">
                  <c:v>0.0079840319361277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4</c:f>
              <c:strCache>
                <c:ptCount val="5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  <c:pt idx="45" c:formatCode="@">
                  <c:v>CW08</c:v>
                </c:pt>
                <c:pt idx="46" c:formatCode="@">
                  <c:v>CW09</c:v>
                </c:pt>
                <c:pt idx="47" c:formatCode="@">
                  <c:v>CW10</c:v>
                </c:pt>
                <c:pt idx="48" c:formatCode="@">
                  <c:v>CW11</c:v>
                </c:pt>
                <c:pt idx="49" c:formatCode="@">
                  <c:v>CW12</c:v>
                </c:pt>
                <c:pt idx="50" c:formatCode="@">
                  <c:v>CW13</c:v>
                </c:pt>
                <c:pt idx="51" c:formatCode="@">
                  <c:v>CW14</c:v>
                </c:pt>
                <c:pt idx="52" c:formatCode="@">
                  <c:v>CW15</c:v>
                </c:pt>
              </c:strCache>
            </c:strRef>
          </c:cat>
          <c:val>
            <c:numRef>
              <c:f>Sheet1!$D$2:$D$54</c:f>
              <c:numCache>
                <c:formatCode>0%</c:formatCode>
                <c:ptCount val="5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  <c:pt idx="45" c:formatCode="0.00%">
                  <c:v>-0.04</c:v>
                </c:pt>
                <c:pt idx="46" c:formatCode="0.00%">
                  <c:v>0.166666666666667</c:v>
                </c:pt>
                <c:pt idx="47" c:formatCode="0.00%">
                  <c:v>0.0357142857142857</c:v>
                </c:pt>
                <c:pt idx="48" c:formatCode="0.00%">
                  <c:v>-0.448275862068966</c:v>
                </c:pt>
                <c:pt idx="49" c:formatCode="0.00%">
                  <c:v>0.25</c:v>
                </c:pt>
                <c:pt idx="50" c:formatCode="0.00%">
                  <c:v>-0.1</c:v>
                </c:pt>
                <c:pt idx="51" c:formatCode="0.00%">
                  <c:v>0.388888888888889</c:v>
                </c:pt>
                <c:pt idx="52" c:formatCode="0.00%">
                  <c:v>-0.5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7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6.xml"/><Relationship Id="rId1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9.xml"/><Relationship Id="rId1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2.xml"/><Relationship Id="rId1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3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0.bin"/><Relationship Id="rId2" Type="http://schemas.openxmlformats.org/officeDocument/2006/relationships/tags" Target="../tags/tag43.xml"/><Relationship Id="rId1" Type="http://schemas.openxmlformats.org/officeDocument/2006/relationships/chart" Target="../charts/chart24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7.xml"/><Relationship Id="rId1" Type="http://schemas.openxmlformats.org/officeDocument/2006/relationships/chart" Target="../charts/char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29.xml"/><Relationship Id="rId1" Type="http://schemas.openxmlformats.org/officeDocument/2006/relationships/chart" Target="../charts/chart28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2.xml"/><Relationship Id="rId1" Type="http://schemas.openxmlformats.org/officeDocument/2006/relationships/chart" Target="../charts/chart31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3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4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6.xml"/><Relationship Id="rId1" Type="http://schemas.openxmlformats.org/officeDocument/2006/relationships/chart" Target="../charts/chart35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7.xml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70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15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A</a:t>
            </a:r>
            <a:r>
              <a:rPr lang="en-US" altLang="en-GB" dirty="0"/>
              <a:t>pr</a:t>
            </a:r>
            <a:r>
              <a:rPr lang="en-US" altLang="zh-CN" dirty="0"/>
              <a:t> 14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15 vs. CW1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6284710" y="2252345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15 vs. CW1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459220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916940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15 vs. CW14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15 vs. CW14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15 vs. CW14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15 vs. CW14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15 vs. CW14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15 vs. CW14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15 vs. CW14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15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15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15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15 vs. CW14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1089596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Chart 7"/>
          <p:cNvGraphicFramePr/>
          <p:nvPr/>
        </p:nvGraphicFramePr>
        <p:xfrm>
          <a:off x="660717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15 vs. CW14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5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6967855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14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5240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55247" y="2501727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Apr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15 vs. CW14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1748790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334885" y="3415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14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4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5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CW14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rowth %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altLang="zh-CN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12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21.05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.4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3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52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51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5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8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1.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-97.11%</a:t>
                      </a:r>
                      <a:endParaRPr lang="en-US" sz="1200" b="0">
                        <a:solidFill>
                          <a:srgbClr val="000000"/>
                        </a:solidFill>
                        <a:latin typeface="Audi Type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46.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9.7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5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9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4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sym typeface="+mn-ea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4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4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706524" y="129413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14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14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4" y="1341438"/>
          <a:ext cx="11339830" cy="5302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3405"/>
                <a:gridCol w="2007235"/>
                <a:gridCol w="1544320"/>
                <a:gridCol w="1543685"/>
                <a:gridCol w="2007235"/>
                <a:gridCol w="1313180"/>
                <a:gridCol w="1080770"/>
              </a:tblGrid>
              <a:tr h="736600"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475"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2020/04/07 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+mn-ea"/>
                          <a:cs typeface="+mn-cs"/>
                        </a:rPr>
                        <a:t>1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GMT+08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：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cs typeface="+mn-cs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弹性公网</a:t>
                      </a:r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P-EIP</a:t>
                      </a: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0805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04/07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3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4/13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15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38200"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alarm-EIPBandwidthOverf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2020/4/13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sym typeface="+mn-ea"/>
                        </a:rPr>
                        <a:t>1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20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lang="en-US" altLang="zh-CN" sz="12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GMT+08</a:t>
                      </a:r>
                      <a:r>
                        <a:rPr lang="zh-CN" altLang="en-US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：</a:t>
                      </a:r>
                      <a:r>
                        <a:rPr lang="en-US" altLang="zh-CN" sz="12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udi Type"/>
                          <a:ea typeface="宋体" panose="02010600030101010101" pitchFamily="2" charset="-122"/>
                          <a:sym typeface="+mn-ea"/>
                        </a:rPr>
                        <a:t>00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宋体" panose="02010600030101010101" pitchFamily="2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事件监控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全部资源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弹性公网</a:t>
                      </a:r>
                      <a:r>
                        <a:rPr lang="en-US" altLang="zh-CN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IP-EIP</a:t>
                      </a:r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宽带超限事件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立即触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zh-CN" alt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重要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sym typeface="+mn-ea"/>
                        </a:rPr>
                        <a:t>-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sym typeface="+mn-ea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14400"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14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15 vs. CW1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6034" y="90805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8804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5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5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5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5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39984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001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14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14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9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47483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695440" y="147955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15 vs. CW1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492541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KSO_WM_UNIT_TABLE_BEAUTIFY" val="smartTable{a7b48daa-640c-4a45-8ea6-4a11ea6a042d}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hinkcellActiveDocDoNotDelete"/>
</p:tagLst>
</file>

<file path=ppt/tags/tag71.xml><?xml version="1.0" encoding="utf-8"?>
<p:tagLst xmlns:p="http://schemas.openxmlformats.org/presentationml/2006/main">
  <p:tag name="THINKCELLSHAPEDONOTDELETE" val="tAqrdWBk6QOqdh7N2Sulvng"/>
</p:tagLst>
</file>

<file path=ppt/tags/tag72.xml><?xml version="1.0" encoding="utf-8"?>
<p:tagLst xmlns:p="http://schemas.openxmlformats.org/presentationml/2006/main">
  <p:tag name="KSO_WM_UNIT_TABLE_BEAUTIFY" val="smartTable{a37833e2-7a5c-4f0d-94aa-47f774f57f94}"/>
</p:tagLst>
</file>

<file path=ppt/tags/tag73.xml><?xml version="1.0" encoding="utf-8"?>
<p:tagLst xmlns:p="http://schemas.openxmlformats.org/presentationml/2006/main">
  <p:tag name="THINKCELLSHAPEDONOTDELETE" val="thinkcellActiveDocDoNotDelete"/>
</p:tagLst>
</file>

<file path=ppt/tags/tag74.xml><?xml version="1.0" encoding="utf-8"?>
<p:tagLst xmlns:p="http://schemas.openxmlformats.org/presentationml/2006/main">
  <p:tag name="THINKCELLSHAPEDONOTDELETE" val="tAqrdWBk6QOqdh7N2Sulvng"/>
</p:tagLst>
</file>

<file path=ppt/tags/tag75.xml><?xml version="1.0" encoding="utf-8"?>
<p:tagLst xmlns:p="http://schemas.openxmlformats.org/presentationml/2006/main">
  <p:tag name="KSO_WM_UNIT_TABLE_BEAUTIFY" val="smartTable{dfb63ea6-2e9e-4201-988a-f90fc0aa7d9f}"/>
</p:tagLst>
</file>

<file path=ppt/tags/tag76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230</Words>
  <Application>WPS 演示</Application>
  <PresentationFormat>宽屏</PresentationFormat>
  <Paragraphs>735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6" baseType="lpstr">
      <vt:lpstr>Arial</vt:lpstr>
      <vt:lpstr>宋体</vt:lpstr>
      <vt:lpstr>Wingdings</vt:lpstr>
      <vt:lpstr>Audi Type Extended</vt:lpstr>
      <vt:lpstr>Segoe Print</vt:lpstr>
      <vt:lpstr>Audi Type</vt:lpstr>
      <vt:lpstr>Symbol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Impact</vt:lpstr>
      <vt:lpstr>Audi Type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15, 2020)   Apr 14,2020 </vt:lpstr>
      <vt:lpstr>Content</vt:lpstr>
      <vt:lpstr>Data summary  </vt:lpstr>
      <vt:lpstr>Daily downloads CW15 vs. CW14</vt:lpstr>
      <vt:lpstr>Weekly downloads since go live</vt:lpstr>
      <vt:lpstr>Average weekly downloads &amp; average daily downloads</vt:lpstr>
      <vt:lpstr>Monthly downloads since go live </vt:lpstr>
      <vt:lpstr>Daily active users CW14 vs. CW13</vt:lpstr>
      <vt:lpstr>Weekly active users since go live </vt:lpstr>
      <vt:lpstr>Average weekly active users &amp; average daily active users </vt:lpstr>
      <vt:lpstr>Monthly actives users since go live</vt:lpstr>
      <vt:lpstr>Daily journeys CW14 vs. CW13</vt:lpstr>
      <vt:lpstr>Weekly journeys since go live </vt:lpstr>
      <vt:lpstr>Average weekly journeys &amp; average daily journeys</vt:lpstr>
      <vt:lpstr>Monthly journeys since go live</vt:lpstr>
      <vt:lpstr>Daily running time CW14 vs. CW13</vt:lpstr>
      <vt:lpstr>Weekly running time since go live </vt:lpstr>
      <vt:lpstr>Average weekly running time &amp; average daily running time</vt:lpstr>
      <vt:lpstr>Monthly running time since go live </vt:lpstr>
      <vt:lpstr>User activities CW14 vs. CW13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14 vs. CW13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14 vs. CW13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14</vt:lpstr>
      <vt:lpstr>Log &amp; alert review report of CW14  </vt:lpstr>
      <vt:lpstr>SLA report of CW14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兔八哥</cp:lastModifiedBy>
  <cp:revision>1326</cp:revision>
  <dcterms:created xsi:type="dcterms:W3CDTF">2019-06-18T08:03:00Z</dcterms:created>
  <dcterms:modified xsi:type="dcterms:W3CDTF">2020-04-14T06:3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584</vt:lpwstr>
  </property>
</Properties>
</file>